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54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9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066D8F-B435-4BBC-B186-6365723E77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58E137-B36C-4E87-83D9-86359F431D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1B3683-496F-49A1-81F5-942EDAC06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4FC586-EA86-49E2-A17E-E9DB7A8C0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93F68F-C41C-45D4-9510-488D7B028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92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59B20-511B-47B2-A371-40F87332F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E7B28E-E240-42B9-8B1D-8BC7988BF3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CE57A1-93DE-4478-83F2-EC322EDD2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C6D7C3-A775-48F7-B3DB-CEFFA2AA1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04CE1A-0A96-48F8-9234-A7132A2B8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4858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CDD887-307C-43F7-ADC2-1259E54CB2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88FEEC-423F-4661-80D4-58781E591C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F30B31-A851-4596-B5C4-A6617A4D6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C5A9D7-7976-49CA-BBDE-A009C7179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867700-9FFB-429F-8344-142E3238F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037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E2C6DD-D30B-4604-8AC5-3663D51F5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13D2E-FB79-45F9-A921-DEF3B8E40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89E5AF-D4F7-4578-807D-A2B9FED1D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871BF6-27B7-4635-943C-AF086182B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850D91-F73D-4559-8F8F-5F2545781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527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E8ACA-AF09-401F-8A91-D7DAFD7EE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479AD3-F4CB-4D16-981D-FFE25AA525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DBA81-1D7A-4760-B5B9-1495897EF4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873118-C034-4C94-9E85-F0F78B5C0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BEBE37-2247-4336-9C58-B8354F952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891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81D9-C57C-4A35-A8C4-0E656C64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49F88-1364-4F2F-BB65-39E7397F9C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DA90BA-5BB6-4701-86FA-6083CED6DC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0D4BCC-DC04-4CAC-AA3A-3B0B93C5E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74569C-19CC-4EA4-8F54-2B97A6300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8EEAA6-E242-40E3-A848-88C5F0E13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621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D5EAF6-AD32-4EE2-BB25-D34DCD010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C40242-2016-468B-B4DC-21934CDFF4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85DA61-718B-455C-BCF8-8C42527567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695C3D-8E70-4775-9CA1-BF28CF8F45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AEB013-BE9F-456C-97E3-77551D62CE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59A217-7A96-4405-8321-87D8771C4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382F2F9-995E-437C-BA00-D3FB0D0E4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87FB085-CA39-4E57-A30B-FF511D5E8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780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725CB-F843-4D22-B019-9D431CD8B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913874-4D5A-4B1D-B8DD-D26A48CA7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06922B-2615-4907-BC7D-21CC8CAC9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B8FE93-FE67-4F9A-B7C8-67E4D2946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202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F77BC6-8CD2-48B2-A7F6-515D85F0AF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759C62-9885-4CA6-AF95-B64D0280E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C7A549-5CEE-4C3F-9D71-391897E6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86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6CCF6-44A9-48A8-B8F4-20CEC8C58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782EF8-8B7A-45B8-994A-6D83B6AA0D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90F00C-592B-4EF7-902A-1FE3177400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BA11A9-349E-482F-8658-40A64F3558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4AA4E5-0D0F-4314-9E9B-21F90D351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D11FAB-1F75-4EDC-A5FA-CC2CD5C6A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51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8A90A-84F8-449E-81B5-59FE70A15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8809E8-704F-4D2A-AA08-33FE7D2CBD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15104-F76D-42CD-AE59-23038EA67D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5A831C-DB88-4F14-AC1D-6EDB4A99C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30102F-6C8F-422E-B28B-A6F40FCF7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0CE0C5-25D5-4940-8955-A16B3D235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073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09B179-9789-4DF7-989F-0B0AC8916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3761FE-AE82-45B2-8688-627CBB76C8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31EB89-8E0E-4235-BBC5-A46C78F791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BC1389-72EF-4D40-86B7-A52948DDDD03}" type="datetimeFigureOut">
              <a:rPr lang="en-US" smtClean="0"/>
              <a:t>3/16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D0EE9-5765-49F1-A6B2-07806772E4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605E56-7AD2-4276-8558-93A816982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0080A0-8C2B-47D0-A8CC-45C03AC3A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6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7ECA32A-4E42-4E94-95BE-A1C62774B6A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088008"/>
              </p:ext>
            </p:extLst>
          </p:nvPr>
        </p:nvGraphicFramePr>
        <p:xfrm>
          <a:off x="1157569" y="255452"/>
          <a:ext cx="9170650" cy="66008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534">
                  <a:extLst>
                    <a:ext uri="{9D8B030D-6E8A-4147-A177-3AD203B41FA5}">
                      <a16:colId xmlns:a16="http://schemas.microsoft.com/office/drawing/2014/main" val="346485395"/>
                    </a:ext>
                  </a:extLst>
                </a:gridCol>
                <a:gridCol w="370264">
                  <a:extLst>
                    <a:ext uri="{9D8B030D-6E8A-4147-A177-3AD203B41FA5}">
                      <a16:colId xmlns:a16="http://schemas.microsoft.com/office/drawing/2014/main" val="1526526314"/>
                    </a:ext>
                  </a:extLst>
                </a:gridCol>
                <a:gridCol w="297534">
                  <a:extLst>
                    <a:ext uri="{9D8B030D-6E8A-4147-A177-3AD203B41FA5}">
                      <a16:colId xmlns:a16="http://schemas.microsoft.com/office/drawing/2014/main" val="1152427828"/>
                    </a:ext>
                  </a:extLst>
                </a:gridCol>
                <a:gridCol w="297534">
                  <a:extLst>
                    <a:ext uri="{9D8B030D-6E8A-4147-A177-3AD203B41FA5}">
                      <a16:colId xmlns:a16="http://schemas.microsoft.com/office/drawing/2014/main" val="3320465947"/>
                    </a:ext>
                  </a:extLst>
                </a:gridCol>
                <a:gridCol w="297534">
                  <a:extLst>
                    <a:ext uri="{9D8B030D-6E8A-4147-A177-3AD203B41FA5}">
                      <a16:colId xmlns:a16="http://schemas.microsoft.com/office/drawing/2014/main" val="4214825652"/>
                    </a:ext>
                  </a:extLst>
                </a:gridCol>
                <a:gridCol w="297534">
                  <a:extLst>
                    <a:ext uri="{9D8B030D-6E8A-4147-A177-3AD203B41FA5}">
                      <a16:colId xmlns:a16="http://schemas.microsoft.com/office/drawing/2014/main" val="2218966279"/>
                    </a:ext>
                  </a:extLst>
                </a:gridCol>
                <a:gridCol w="297534">
                  <a:extLst>
                    <a:ext uri="{9D8B030D-6E8A-4147-A177-3AD203B41FA5}">
                      <a16:colId xmlns:a16="http://schemas.microsoft.com/office/drawing/2014/main" val="1666433040"/>
                    </a:ext>
                  </a:extLst>
                </a:gridCol>
                <a:gridCol w="297534">
                  <a:extLst>
                    <a:ext uri="{9D8B030D-6E8A-4147-A177-3AD203B41FA5}">
                      <a16:colId xmlns:a16="http://schemas.microsoft.com/office/drawing/2014/main" val="1897922659"/>
                    </a:ext>
                  </a:extLst>
                </a:gridCol>
                <a:gridCol w="290922">
                  <a:extLst>
                    <a:ext uri="{9D8B030D-6E8A-4147-A177-3AD203B41FA5}">
                      <a16:colId xmlns:a16="http://schemas.microsoft.com/office/drawing/2014/main" val="3474221001"/>
                    </a:ext>
                  </a:extLst>
                </a:gridCol>
                <a:gridCol w="376876">
                  <a:extLst>
                    <a:ext uri="{9D8B030D-6E8A-4147-A177-3AD203B41FA5}">
                      <a16:colId xmlns:a16="http://schemas.microsoft.com/office/drawing/2014/main" val="3532702962"/>
                    </a:ext>
                  </a:extLst>
                </a:gridCol>
                <a:gridCol w="396711">
                  <a:extLst>
                    <a:ext uri="{9D8B030D-6E8A-4147-A177-3AD203B41FA5}">
                      <a16:colId xmlns:a16="http://schemas.microsoft.com/office/drawing/2014/main" val="352315158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373607208"/>
                    </a:ext>
                  </a:extLst>
                </a:gridCol>
                <a:gridCol w="376876">
                  <a:extLst>
                    <a:ext uri="{9D8B030D-6E8A-4147-A177-3AD203B41FA5}">
                      <a16:colId xmlns:a16="http://schemas.microsoft.com/office/drawing/2014/main" val="3748534136"/>
                    </a:ext>
                  </a:extLst>
                </a:gridCol>
                <a:gridCol w="376876">
                  <a:extLst>
                    <a:ext uri="{9D8B030D-6E8A-4147-A177-3AD203B41FA5}">
                      <a16:colId xmlns:a16="http://schemas.microsoft.com/office/drawing/2014/main" val="490983463"/>
                    </a:ext>
                  </a:extLst>
                </a:gridCol>
                <a:gridCol w="376876">
                  <a:extLst>
                    <a:ext uri="{9D8B030D-6E8A-4147-A177-3AD203B41FA5}">
                      <a16:colId xmlns:a16="http://schemas.microsoft.com/office/drawing/2014/main" val="2209177101"/>
                    </a:ext>
                  </a:extLst>
                </a:gridCol>
                <a:gridCol w="396711">
                  <a:extLst>
                    <a:ext uri="{9D8B030D-6E8A-4147-A177-3AD203B41FA5}">
                      <a16:colId xmlns:a16="http://schemas.microsoft.com/office/drawing/2014/main" val="2260850018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3795340298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2046388973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2162072950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369308872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1068583069"/>
                    </a:ext>
                  </a:extLst>
                </a:gridCol>
                <a:gridCol w="396711">
                  <a:extLst>
                    <a:ext uri="{9D8B030D-6E8A-4147-A177-3AD203B41FA5}">
                      <a16:colId xmlns:a16="http://schemas.microsoft.com/office/drawing/2014/main" val="472435153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2164335926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817655743"/>
                    </a:ext>
                  </a:extLst>
                </a:gridCol>
                <a:gridCol w="317368">
                  <a:extLst>
                    <a:ext uri="{9D8B030D-6E8A-4147-A177-3AD203B41FA5}">
                      <a16:colId xmlns:a16="http://schemas.microsoft.com/office/drawing/2014/main" val="282197524"/>
                    </a:ext>
                  </a:extLst>
                </a:gridCol>
                <a:gridCol w="317368">
                  <a:extLst>
                    <a:ext uri="{9D8B030D-6E8A-4147-A177-3AD203B41FA5}">
                      <a16:colId xmlns:a16="http://schemas.microsoft.com/office/drawing/2014/main" val="2315156096"/>
                    </a:ext>
                  </a:extLst>
                </a:gridCol>
                <a:gridCol w="343817">
                  <a:extLst>
                    <a:ext uri="{9D8B030D-6E8A-4147-A177-3AD203B41FA5}">
                      <a16:colId xmlns:a16="http://schemas.microsoft.com/office/drawing/2014/main" val="3267609320"/>
                    </a:ext>
                  </a:extLst>
                </a:gridCol>
              </a:tblGrid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L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69455470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90890624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4610770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61322833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35927407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68094491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67978291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8965018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10348986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89597550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25549788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6772418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06467400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17663006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51195916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65659226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9918704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J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394095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5549299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60715876"/>
                  </a:ext>
                </a:extLst>
              </a:tr>
              <a:tr h="30262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U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Z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V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L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I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H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T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775638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681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5EB0A98_F6DE_4A3B_9AF0_1EF9F966720F&quot;,&quot;SourceFullName&quot;:&quot;&quot;,&quot;LastUpdate&quot;:&quot;2026-03-13 11:51 PM&quot;,&quot;UpdatedBy&quot;:&quot;Admin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67</Words>
  <Application>Microsoft Office PowerPoint</Application>
  <PresentationFormat>Widescreen</PresentationFormat>
  <Paragraphs>56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Admin</cp:lastModifiedBy>
  <cp:revision>1</cp:revision>
  <dcterms:created xsi:type="dcterms:W3CDTF">2026-03-16T10:57:31Z</dcterms:created>
  <dcterms:modified xsi:type="dcterms:W3CDTF">2026-03-16T10:58:42Z</dcterms:modified>
</cp:coreProperties>
</file>